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3"/>
  </p:notesMasterIdLst>
  <p:sldIdLst>
    <p:sldId id="256" r:id="rId2"/>
    <p:sldId id="258" r:id="rId3"/>
    <p:sldId id="259" r:id="rId4"/>
    <p:sldId id="261" r:id="rId5"/>
    <p:sldId id="262" r:id="rId6"/>
    <p:sldId id="335" r:id="rId7"/>
    <p:sldId id="260" r:id="rId8"/>
    <p:sldId id="267" r:id="rId9"/>
    <p:sldId id="273" r:id="rId10"/>
    <p:sldId id="315" r:id="rId11"/>
    <p:sldId id="268" r:id="rId12"/>
    <p:sldId id="316" r:id="rId13"/>
    <p:sldId id="317" r:id="rId14"/>
    <p:sldId id="318" r:id="rId15"/>
    <p:sldId id="319" r:id="rId16"/>
    <p:sldId id="320" r:id="rId17"/>
    <p:sldId id="321" r:id="rId18"/>
    <p:sldId id="323" r:id="rId19"/>
    <p:sldId id="313" r:id="rId20"/>
    <p:sldId id="312" r:id="rId21"/>
    <p:sldId id="325" r:id="rId22"/>
    <p:sldId id="326" r:id="rId23"/>
    <p:sldId id="327" r:id="rId24"/>
    <p:sldId id="333" r:id="rId25"/>
    <p:sldId id="331" r:id="rId26"/>
    <p:sldId id="332" r:id="rId27"/>
    <p:sldId id="337" r:id="rId28"/>
    <p:sldId id="338" r:id="rId29"/>
    <p:sldId id="266" r:id="rId30"/>
    <p:sldId id="340" r:id="rId31"/>
    <p:sldId id="339" r:id="rId3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>
      <p:cViewPr>
        <p:scale>
          <a:sx n="47" d="100"/>
          <a:sy n="47" d="100"/>
        </p:scale>
        <p:origin x="-1176" y="1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4.bin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A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view3D>
      <c:rotX val="15"/>
      <c:rotY val="20"/>
      <c:rAngAx val="1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8.7370706020237998E-2"/>
          <c:y val="2.32932960829671E-2"/>
          <c:w val="0.89166493339275998"/>
          <c:h val="0.35471093380969698"/>
        </c:manualLayout>
      </c:layout>
      <c:bar3DChart>
        <c:barDir val="col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4.6296296296296398E-3"/>
                  <c:y val="-3.3672391930733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6.17283950617284E-3"/>
                  <c:y val="-3.64784245916282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54320987654321E-3"/>
                  <c:y val="-3.36723919307337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6296296296296398E-3"/>
                  <c:y val="-3.647842459162829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sumber info'!$B$11:$B$14</c:f>
              <c:strCache>
                <c:ptCount val="4"/>
                <c:pt idx="0">
                  <c:v>Information Responded</c:v>
                </c:pt>
                <c:pt idx="1">
                  <c:v>Valid Information</c:v>
                </c:pt>
                <c:pt idx="2">
                  <c:v>Legal Process</c:v>
                </c:pt>
                <c:pt idx="3">
                  <c:v>Sentenced</c:v>
                </c:pt>
              </c:strCache>
            </c:strRef>
          </c:cat>
          <c:val>
            <c:numRef>
              <c:f>'sumber info'!$C$11:$C$14</c:f>
              <c:numCache>
                <c:formatCode>0%</c:formatCode>
                <c:ptCount val="4"/>
                <c:pt idx="0">
                  <c:v>0.90909090909090895</c:v>
                </c:pt>
                <c:pt idx="1">
                  <c:v>0.87878787878788001</c:v>
                </c:pt>
                <c:pt idx="2">
                  <c:v>0.63636363636363802</c:v>
                </c:pt>
                <c:pt idx="3">
                  <c:v>0.6060606060606069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37147904"/>
        <c:axId val="137154944"/>
        <c:axId val="0"/>
      </c:bar3DChart>
      <c:catAx>
        <c:axId val="137147904"/>
        <c:scaling>
          <c:orientation val="minMax"/>
        </c:scaling>
        <c:delete val="0"/>
        <c:axPos val="b"/>
        <c:majorTickMark val="out"/>
        <c:minorTickMark val="none"/>
        <c:tickLblPos val="nextTo"/>
        <c:crossAx val="137154944"/>
        <c:crosses val="autoZero"/>
        <c:auto val="1"/>
        <c:lblAlgn val="ctr"/>
        <c:lblOffset val="100"/>
        <c:noMultiLvlLbl val="0"/>
      </c:catAx>
      <c:valAx>
        <c:axId val="13715494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1371479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400">
          <a:solidFill>
            <a:srgbClr val="FFFFFF"/>
          </a:solidFill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05424E-D2A2-C44D-A27F-F3248B1FAA02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9D3500-1E08-D44D-A8A3-947F8BCDFB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663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9D3500-1E08-D44D-A8A3-947F8BCDFB73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4128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2452F61-EC7A-4B80-9F68-522273CBBD19}" type="slidenum">
              <a:rPr lang="zh-CN" altLang="en-US"/>
              <a:pPr/>
              <a:t>10</a:t>
            </a:fld>
            <a:endParaRPr lang="en-US" altLang="zh-CN"/>
          </a:p>
        </p:txBody>
      </p:sp>
      <p:sp>
        <p:nvSpPr>
          <p:cNvPr id="299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90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85817" indent="-263776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055103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477145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899186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321227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743269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165310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587351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842AC9AB-ED96-48A7-9179-A0267B8C6BF2}" type="slidenum">
              <a:rPr lang="en-US" sz="1200"/>
              <a:pPr eaLnBrk="1" hangingPunct="1"/>
              <a:t>12</a:t>
            </a:fld>
            <a:endParaRPr lang="en-US" sz="12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85817" indent="-263776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055103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477145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899186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321227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743269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165310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587351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DB0338DE-3EA4-44E9-B71C-1999F8394315}" type="slidenum">
              <a:rPr lang="en-US" sz="1200"/>
              <a:pPr eaLnBrk="1" hangingPunct="1"/>
              <a:t>13</a:t>
            </a:fld>
            <a:endParaRPr lang="en-US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85817" indent="-263776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055103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477145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899186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321227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743269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165310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587351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3E9E30FA-BBD4-44CF-B0B8-79DA4B91B90A}" type="slidenum">
              <a:rPr lang="en-US" sz="1200"/>
              <a:pPr eaLnBrk="1" hangingPunct="1"/>
              <a:t>18</a:t>
            </a:fld>
            <a:endParaRPr lang="en-US" sz="12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  <p:sp>
        <p:nvSpPr>
          <p:cNvPr id="440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85817" indent="-263776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055103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477145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899186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321227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743269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165310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587351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BF9C9BEF-25FA-4E14-9537-A1786D610556}" type="slidenum">
              <a:rPr lang="en-US" sz="1200"/>
              <a:pPr eaLnBrk="1" hangingPunct="1"/>
              <a:t>21</a:t>
            </a:fld>
            <a:endParaRPr lang="en-US" sz="12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85817" indent="-263776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055103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477145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899186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321227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743269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165310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587351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4A5DCA07-3533-484F-BB5C-B252BBB28D8C}" type="slidenum">
              <a:rPr lang="en-US" sz="1200"/>
              <a:pPr eaLnBrk="1" hangingPunct="1"/>
              <a:t>23</a:t>
            </a:fld>
            <a:endParaRPr lang="en-US" sz="120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85817" indent="-263776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055103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477145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899186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321227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743269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165310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587351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8953F2C7-2E9C-4641-B64A-27A245C3E596}" type="slidenum">
              <a:rPr lang="en-US" sz="1200"/>
              <a:pPr eaLnBrk="1" hangingPunct="1"/>
              <a:t>25</a:t>
            </a:fld>
            <a:endParaRPr lang="en-US" sz="12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GB" smtClean="0">
              <a:ea typeface="ＭＳ Ｐゴシック" pitchFamily="34" charset="-128"/>
            </a:endParaRPr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685817" indent="-263776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055103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477145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1899186" indent="-211021" defTabSz="877788" eaLnBrk="0" hangingPunct="0"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321227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743269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165310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587351" indent="-211021" defTabSz="8777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fld id="{9ECC13FC-8DDD-4CA9-9C3C-EEC7123AE98B}" type="slidenum">
              <a:rPr lang="en-US" sz="1200"/>
              <a:pPr eaLnBrk="1" hangingPunct="1"/>
              <a:t>26</a:t>
            </a:fld>
            <a:endParaRPr 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5820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2808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93253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OverObj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85800" y="1981200"/>
            <a:ext cx="777240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5800" y="4114800"/>
            <a:ext cx="7772400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</p:spPr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36EA70-B651-FD4A-8A58-882C90C1320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6953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8668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77351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176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85269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827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09107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150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230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ECF780-83BA-C748-9E9B-BAA8F89A0A3D}" type="datetimeFigureOut">
              <a:rPr lang="en-US" smtClean="0"/>
              <a:t>3/8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8CBA6A-FDF1-F04B-8C43-45046B352C4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236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1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2.emf"/><Relationship Id="rId5" Type="http://schemas.openxmlformats.org/officeDocument/2006/relationships/oleObject" Target="../embeddings/Microsoft_Excel_97-2003_Worksheet1.xls"/><Relationship Id="rId4" Type="http://schemas.openxmlformats.org/officeDocument/2006/relationships/oleObject" Target="../embeddings/oleObject1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7.jpg"/><Relationship Id="rId5" Type="http://schemas.openxmlformats.org/officeDocument/2006/relationships/image" Target="../media/image36.jpg"/><Relationship Id="rId4" Type="http://schemas.openxmlformats.org/officeDocument/2006/relationships/image" Target="../media/image35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jpeg"/><Relationship Id="rId4" Type="http://schemas.openxmlformats.org/officeDocument/2006/relationships/image" Target="../media/image2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jpeg"/><Relationship Id="rId4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tags" Target="../tags/tag2.xml"/><Relationship Id="rId7" Type="http://schemas.openxmlformats.org/officeDocument/2006/relationships/image" Target="../media/image51.emf"/><Relationship Id="rId2" Type="http://schemas.openxmlformats.org/officeDocument/2006/relationships/tags" Target="../tags/tag1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8.xml"/><Relationship Id="rId10" Type="http://schemas.openxmlformats.org/officeDocument/2006/relationships/image" Target="../media/image54.jp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3.jp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4.xml"/><Relationship Id="rId7" Type="http://schemas.openxmlformats.org/officeDocument/2006/relationships/image" Target="../media/image51.emf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55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5" Type="http://schemas.openxmlformats.org/officeDocument/2006/relationships/image" Target="../media/image58.jpg"/><Relationship Id="rId4" Type="http://schemas.openxmlformats.org/officeDocument/2006/relationships/image" Target="../media/image57.jp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G"/><Relationship Id="rId3" Type="http://schemas.openxmlformats.org/officeDocument/2006/relationships/hyperlink" Target="https://www.google.com/url?sa=i&amp;rct=j&amp;q=&amp;esrc=s&amp;frm=1&amp;source=images&amp;cd=&amp;cad=rja&amp;docid=LYpyAZ8XzZkMBM&amp;tbnid=YA3v55Y1JlY-iM:&amp;ved=0CAUQjRw&amp;url=https://www.facebook.com/tracksofgiants&amp;ei=jFouUrGsEZKv4APg8YDIBQ&amp;bvm=bv.51773540,d.dmg&amp;psig=AFQjCNH7bAMeWyUBYkxlptbKjuujljqQWw&amp;ust=1378855916570931" TargetMode="External"/><Relationship Id="rId7" Type="http://schemas.openxmlformats.org/officeDocument/2006/relationships/image" Target="../media/image6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Relationship Id="rId9" Type="http://schemas.openxmlformats.org/officeDocument/2006/relationships/image" Target="../media/image6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parrot trade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3116"/>
            <a:ext cx="9144000" cy="570470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790625" y="1981453"/>
            <a:ext cx="3729506" cy="584776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3200" b="1" dirty="0" smtClean="0">
                <a:solidFill>
                  <a:schemeClr val="bg1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  <a:latin typeface="Century Gothic"/>
                <a:cs typeface="Century Gothic"/>
              </a:rPr>
              <a:t>Wildlife Trafficking</a:t>
            </a:r>
            <a:endParaRPr lang="en-US" sz="3200" b="1" dirty="0">
              <a:solidFill>
                <a:schemeClr val="bg1"/>
              </a:solidFill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  <a:latin typeface="Century Gothic"/>
              <a:cs typeface="Century Gothic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16486" y="4924877"/>
            <a:ext cx="6098612" cy="1200328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  <a:latin typeface="Century Gothic"/>
                <a:cs typeface="Century Gothic"/>
              </a:rPr>
              <a:t>Latin America and Caribbean Program</a:t>
            </a:r>
          </a:p>
          <a:p>
            <a:pPr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  <a:latin typeface="Century Gothic"/>
                <a:cs typeface="Century Gothic"/>
              </a:rPr>
              <a:t>Regional Meeting</a:t>
            </a:r>
          </a:p>
          <a:p>
            <a:pPr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50800" dist="38100" dir="10800000" algn="r" rotWithShape="0">
                    <a:prstClr val="black">
                      <a:alpha val="40000"/>
                    </a:prstClr>
                  </a:outerShdw>
                </a:effectLst>
                <a:latin typeface="Century Gothic"/>
                <a:cs typeface="Century Gothic"/>
              </a:rPr>
              <a:t>April 2015</a:t>
            </a:r>
            <a:endParaRPr lang="en-US" sz="2400" b="1" dirty="0">
              <a:solidFill>
                <a:schemeClr val="bg1"/>
              </a:solidFill>
              <a:effectLst>
                <a:outerShdw blurRad="50800" dist="38100" dir="10800000" algn="r" rotWithShape="0">
                  <a:prstClr val="black">
                    <a:alpha val="40000"/>
                  </a:prstClr>
                </a:outerShdw>
              </a:effectLst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24815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7988" name="Picture 4" descr="GoT Forest Rangers in Thailand trained by WC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388155"/>
            <a:ext cx="2971800" cy="44698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7990" name="Text Box 6"/>
          <p:cNvSpPr txBox="1">
            <a:spLocks noChangeArrowheads="1"/>
          </p:cNvSpPr>
          <p:nvPr/>
        </p:nvSpPr>
        <p:spPr bwMode="auto">
          <a:xfrm>
            <a:off x="283253" y="558846"/>
            <a:ext cx="8686800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It is sophisticated organized crime, closely linked to other forms of such crime (e.g., drugs, guns).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pic>
        <p:nvPicPr>
          <p:cNvPr id="297991" name="Picture 7" descr="Vietnam tiger confisca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2066" y="2388155"/>
            <a:ext cx="6291934" cy="4469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6474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395325" y="219517"/>
            <a:ext cx="64515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So, what are we doing elsewhere in WCS?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68276" y="5485185"/>
            <a:ext cx="8975724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Our core focus was initially Asia, then we expanded to include Africa as the circle of hunting spread – and as Asia’s wildlife declined.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6648" y="713742"/>
            <a:ext cx="4730354" cy="4714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24894" y="1137957"/>
            <a:ext cx="2714822" cy="3843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5701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/>
          </p:nvPr>
        </p:nvSpPr>
        <p:spPr>
          <a:xfrm>
            <a:off x="503162" y="174636"/>
            <a:ext cx="8229600" cy="1143000"/>
          </a:xfrm>
        </p:spPr>
        <p:txBody>
          <a:bodyPr>
            <a:normAutofit fontScale="90000"/>
          </a:bodyPr>
          <a:lstStyle/>
          <a:p>
            <a:pPr algn="l"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hat do we do?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/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Address the problem along the wildlife trade chain, from point of hunting to point of sale</a:t>
            </a:r>
          </a:p>
        </p:txBody>
      </p:sp>
      <p:sp>
        <p:nvSpPr>
          <p:cNvPr id="15363" name="ValueChainStarter"/>
          <p:cNvSpPr>
            <a:spLocks noChangeArrowheads="1"/>
          </p:cNvSpPr>
          <p:nvPr/>
        </p:nvSpPr>
        <p:spPr bwMode="auto">
          <a:xfrm>
            <a:off x="442989" y="1619389"/>
            <a:ext cx="2208892" cy="533400"/>
          </a:xfrm>
          <a:prstGeom prst="homePlate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 dirty="0">
                <a:solidFill>
                  <a:srgbClr val="FFFFFF"/>
                </a:solidFill>
              </a:rPr>
              <a:t>Site</a:t>
            </a:r>
          </a:p>
        </p:txBody>
      </p:sp>
      <p:sp>
        <p:nvSpPr>
          <p:cNvPr id="15364" name="ValueChainHeader"/>
          <p:cNvSpPr>
            <a:spLocks noChangeArrowheads="1"/>
          </p:cNvSpPr>
          <p:nvPr/>
        </p:nvSpPr>
        <p:spPr bwMode="auto">
          <a:xfrm>
            <a:off x="2514299" y="1619389"/>
            <a:ext cx="2208892" cy="533400"/>
          </a:xfrm>
          <a:prstGeom prst="chevron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 dirty="0">
                <a:solidFill>
                  <a:srgbClr val="FFFFFF"/>
                </a:solidFill>
              </a:rPr>
              <a:t>Landscape</a:t>
            </a:r>
          </a:p>
        </p:txBody>
      </p:sp>
      <p:sp>
        <p:nvSpPr>
          <p:cNvPr id="15365" name="ValueChainHeader"/>
          <p:cNvSpPr>
            <a:spLocks noChangeArrowheads="1"/>
          </p:cNvSpPr>
          <p:nvPr/>
        </p:nvSpPr>
        <p:spPr bwMode="auto">
          <a:xfrm>
            <a:off x="4582583" y="1619389"/>
            <a:ext cx="2208893" cy="533400"/>
          </a:xfrm>
          <a:prstGeom prst="chevron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 dirty="0">
                <a:solidFill>
                  <a:srgbClr val="FFFFFF"/>
                </a:solidFill>
              </a:rPr>
              <a:t>Transport nodes</a:t>
            </a:r>
          </a:p>
        </p:txBody>
      </p:sp>
      <p:sp>
        <p:nvSpPr>
          <p:cNvPr id="15366" name="ValueChainHeader"/>
          <p:cNvSpPr>
            <a:spLocks noChangeArrowheads="1"/>
          </p:cNvSpPr>
          <p:nvPr/>
        </p:nvSpPr>
        <p:spPr bwMode="auto">
          <a:xfrm>
            <a:off x="6655405" y="1619389"/>
            <a:ext cx="2207381" cy="533400"/>
          </a:xfrm>
          <a:prstGeom prst="chevron">
            <a:avLst>
              <a:gd name="adj" fmla="val 27721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 dirty="0">
                <a:solidFill>
                  <a:srgbClr val="FFFFFF"/>
                </a:solidFill>
              </a:rPr>
              <a:t>End point</a:t>
            </a:r>
          </a:p>
        </p:txBody>
      </p:sp>
      <p:sp>
        <p:nvSpPr>
          <p:cNvPr id="15367" name="Rectangle 22"/>
          <p:cNvSpPr>
            <a:spLocks noChangeArrowheads="1"/>
          </p:cNvSpPr>
          <p:nvPr/>
        </p:nvSpPr>
        <p:spPr bwMode="gray">
          <a:xfrm>
            <a:off x="441478" y="2152789"/>
            <a:ext cx="2072821" cy="6191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800" dirty="0" smtClean="0">
                <a:solidFill>
                  <a:schemeClr val="tx1"/>
                </a:solidFill>
              </a:rPr>
              <a:t>Illegal hunting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15368" name="Rectangle 30"/>
          <p:cNvSpPr>
            <a:spLocks noChangeArrowheads="1"/>
          </p:cNvSpPr>
          <p:nvPr/>
        </p:nvSpPr>
        <p:spPr bwMode="gray">
          <a:xfrm>
            <a:off x="2536069" y="2152789"/>
            <a:ext cx="2072822" cy="6191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Criminal networks</a:t>
            </a:r>
          </a:p>
        </p:txBody>
      </p:sp>
      <p:sp>
        <p:nvSpPr>
          <p:cNvPr id="15370" name="Rectangle 34"/>
          <p:cNvSpPr>
            <a:spLocks noChangeArrowheads="1"/>
          </p:cNvSpPr>
          <p:nvPr/>
        </p:nvSpPr>
        <p:spPr bwMode="gray">
          <a:xfrm>
            <a:off x="4582583" y="2152789"/>
            <a:ext cx="2072822" cy="6191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Global transport</a:t>
            </a:r>
          </a:p>
        </p:txBody>
      </p:sp>
      <p:sp>
        <p:nvSpPr>
          <p:cNvPr id="15371" name="Rectangle 38"/>
          <p:cNvSpPr>
            <a:spLocks noChangeArrowheads="1"/>
          </p:cNvSpPr>
          <p:nvPr/>
        </p:nvSpPr>
        <p:spPr bwMode="gray">
          <a:xfrm>
            <a:off x="6659941" y="2152789"/>
            <a:ext cx="2072821" cy="6191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800">
                <a:solidFill>
                  <a:schemeClr val="tx1"/>
                </a:solidFill>
              </a:rPr>
              <a:t>Sales</a:t>
            </a:r>
          </a:p>
        </p:txBody>
      </p:sp>
      <p:pic>
        <p:nvPicPr>
          <p:cNvPr id="15372" name="Content Placeholder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771914"/>
            <a:ext cx="2078869" cy="16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3" name="Picture 16" descr="KaLongPort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914" y="2771914"/>
            <a:ext cx="2082492" cy="16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374" name="Picture 18" descr="IMG_0926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1858" y="2771914"/>
            <a:ext cx="2060725" cy="16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75" name="Rectangle 22"/>
          <p:cNvSpPr>
            <a:spLocks noChangeArrowheads="1"/>
          </p:cNvSpPr>
          <p:nvPr/>
        </p:nvSpPr>
        <p:spPr bwMode="gray">
          <a:xfrm>
            <a:off x="442989" y="4407039"/>
            <a:ext cx="2072821" cy="11588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Protected </a:t>
            </a:r>
            <a:endParaRPr lang="en-US" sz="1600" dirty="0">
              <a:solidFill>
                <a:schemeClr val="tx1"/>
              </a:solidFill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Areas</a:t>
            </a:r>
          </a:p>
        </p:txBody>
      </p:sp>
      <p:sp>
        <p:nvSpPr>
          <p:cNvPr id="15376" name="Rectangle 30"/>
          <p:cNvSpPr>
            <a:spLocks noChangeArrowheads="1"/>
          </p:cNvSpPr>
          <p:nvPr/>
        </p:nvSpPr>
        <p:spPr bwMode="gray">
          <a:xfrm>
            <a:off x="2521858" y="4407039"/>
            <a:ext cx="2072822" cy="11588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owns and villages in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and around </a:t>
            </a:r>
            <a:r>
              <a:rPr lang="en-US" sz="1600" dirty="0" smtClean="0">
                <a:solidFill>
                  <a:schemeClr val="tx1"/>
                </a:solidFill>
              </a:rPr>
              <a:t>sites </a:t>
            </a:r>
            <a:endParaRPr lang="en-US" sz="1600" dirty="0">
              <a:solidFill>
                <a:schemeClr val="tx1"/>
              </a:solidFill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where middlemen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buy and sell wildlife</a:t>
            </a:r>
          </a:p>
        </p:txBody>
      </p:sp>
      <p:sp>
        <p:nvSpPr>
          <p:cNvPr id="15377" name="Rectangle 34"/>
          <p:cNvSpPr>
            <a:spLocks noChangeArrowheads="1"/>
          </p:cNvSpPr>
          <p:nvPr/>
        </p:nvSpPr>
        <p:spPr bwMode="gray">
          <a:xfrm>
            <a:off x="4599215" y="4407039"/>
            <a:ext cx="2072822" cy="11588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Where trade flows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converge -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 international borders,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ports, airports</a:t>
            </a:r>
          </a:p>
        </p:txBody>
      </p:sp>
      <p:sp>
        <p:nvSpPr>
          <p:cNvPr id="15378" name="Rectangle 38"/>
          <p:cNvSpPr>
            <a:spLocks noChangeArrowheads="1"/>
          </p:cNvSpPr>
          <p:nvPr/>
        </p:nvSpPr>
        <p:spPr bwMode="gray">
          <a:xfrm>
            <a:off x="6688667" y="4407039"/>
            <a:ext cx="2072821" cy="11588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Urban areas where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 products are sold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to consumers</a:t>
            </a:r>
          </a:p>
        </p:txBody>
      </p:sp>
      <p:pic>
        <p:nvPicPr>
          <p:cNvPr id="15389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5405" y="2771914"/>
            <a:ext cx="2106083" cy="16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4981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3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5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53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53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53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5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5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5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3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5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53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53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4" grpId="0" animBg="1"/>
      <p:bldP spid="15365" grpId="0" animBg="1"/>
      <p:bldP spid="15366" grpId="0" animBg="1"/>
      <p:bldP spid="15368" grpId="0" animBg="1"/>
      <p:bldP spid="15370" grpId="0" animBg="1"/>
      <p:bldP spid="15371" grpId="0" animBg="1"/>
      <p:bldP spid="15376" grpId="0" animBg="1"/>
      <p:bldP spid="15377" grpId="0" animBg="1"/>
      <p:bldP spid="1537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14" descr="C:\Users\colin\AppData\Local\Temp\FINAL_LOGO_ACCEPTEDX_Style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024" y="1362075"/>
            <a:ext cx="2871108" cy="226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1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1: The Site</a:t>
            </a:r>
          </a:p>
        </p:txBody>
      </p:sp>
      <p:sp>
        <p:nvSpPr>
          <p:cNvPr id="17412" name="ValueChainStarter"/>
          <p:cNvSpPr>
            <a:spLocks noChangeArrowheads="1"/>
          </p:cNvSpPr>
          <p:nvPr/>
        </p:nvSpPr>
        <p:spPr bwMode="auto">
          <a:xfrm>
            <a:off x="442989" y="1196975"/>
            <a:ext cx="2208892" cy="533400"/>
          </a:xfrm>
          <a:prstGeom prst="homePlate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Site</a:t>
            </a:r>
          </a:p>
        </p:txBody>
      </p:sp>
      <p:sp>
        <p:nvSpPr>
          <p:cNvPr id="17413" name="Rectangle 22"/>
          <p:cNvSpPr>
            <a:spLocks noChangeArrowheads="1"/>
          </p:cNvSpPr>
          <p:nvPr/>
        </p:nvSpPr>
        <p:spPr bwMode="gray">
          <a:xfrm>
            <a:off x="442989" y="1700214"/>
            <a:ext cx="2072821" cy="6191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800" dirty="0" smtClean="0">
                <a:solidFill>
                  <a:schemeClr val="tx1"/>
                </a:solidFill>
              </a:rPr>
              <a:t>Illegal hunting</a:t>
            </a:r>
            <a:endParaRPr lang="en-US" sz="1800" dirty="0">
              <a:solidFill>
                <a:schemeClr val="tx1"/>
              </a:solidFill>
            </a:endParaRPr>
          </a:p>
        </p:txBody>
      </p:sp>
      <p:pic>
        <p:nvPicPr>
          <p:cNvPr id="17414" name="Content Placeholder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988" y="2289176"/>
            <a:ext cx="2078869" cy="16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5" name="Rectangle 22"/>
          <p:cNvSpPr>
            <a:spLocks noChangeArrowheads="1"/>
          </p:cNvSpPr>
          <p:nvPr/>
        </p:nvSpPr>
        <p:spPr bwMode="gray">
          <a:xfrm>
            <a:off x="442989" y="3779839"/>
            <a:ext cx="2072821" cy="11588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Protected </a:t>
            </a:r>
            <a:endParaRPr lang="en-US" sz="1600" dirty="0">
              <a:solidFill>
                <a:schemeClr val="tx1"/>
              </a:solidFill>
            </a:endParaRP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Areas</a:t>
            </a:r>
          </a:p>
        </p:txBody>
      </p:sp>
      <p:sp>
        <p:nvSpPr>
          <p:cNvPr id="17418" name="TextBox 13"/>
          <p:cNvSpPr txBox="1">
            <a:spLocks noChangeArrowheads="1"/>
          </p:cNvSpPr>
          <p:nvPr/>
        </p:nvSpPr>
        <p:spPr bwMode="auto">
          <a:xfrm>
            <a:off x="461131" y="5092701"/>
            <a:ext cx="2538488" cy="147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800" dirty="0" smtClean="0">
                <a:solidFill>
                  <a:srgbClr val="FFFFFF"/>
                </a:solidFill>
                <a:latin typeface="Century Gothic"/>
                <a:cs typeface="Century Gothic"/>
              </a:rPr>
              <a:t>Deployment </a:t>
            </a:r>
            <a:r>
              <a:rPr lang="en-US" sz="1800" dirty="0">
                <a:solidFill>
                  <a:srgbClr val="FFFFFF"/>
                </a:solidFill>
                <a:latin typeface="Century Gothic"/>
                <a:cs typeface="Century Gothic"/>
              </a:rPr>
              <a:t>of </a:t>
            </a:r>
            <a:r>
              <a:rPr lang="en-US" sz="1800" dirty="0" smtClean="0">
                <a:solidFill>
                  <a:srgbClr val="FFFFFF"/>
                </a:solidFill>
                <a:latin typeface="Century Gothic"/>
                <a:cs typeface="Century Gothic"/>
              </a:rPr>
              <a:t>SMART - to </a:t>
            </a:r>
            <a:r>
              <a:rPr lang="en-US" sz="1800" dirty="0">
                <a:solidFill>
                  <a:srgbClr val="FFFFFF"/>
                </a:solidFill>
                <a:latin typeface="Century Gothic"/>
                <a:cs typeface="Century Gothic"/>
              </a:rPr>
              <a:t>help site managers better manage ranger enforcement patrols</a:t>
            </a:r>
            <a:endParaRPr lang="en-SG" sz="18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4131" y="1219200"/>
            <a:ext cx="3588895" cy="4645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3" descr="https://lh3.googleusercontent.com/T8HYcbRKA6npQCbuyrwCUQB39E3ZvRyzpk2AJm_1evodNNXdaFjzpsmUh8BD_mwZDebvgqvoCY5N1XsyzlIS7eyBt2nLU_gqjGN5tAkbD5eePC2L7NQ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1274" y="3771900"/>
            <a:ext cx="3973286" cy="271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43849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7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41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Title 1"/>
          <p:cNvSpPr>
            <a:spLocks noGrp="1"/>
          </p:cNvSpPr>
          <p:nvPr>
            <p:ph type="title"/>
          </p:nvPr>
        </p:nvSpPr>
        <p:spPr>
          <a:xfrm>
            <a:off x="457200" y="-76200"/>
            <a:ext cx="8229600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1: The Site</a:t>
            </a:r>
          </a:p>
        </p:txBody>
      </p:sp>
      <p:pic>
        <p:nvPicPr>
          <p:cNvPr id="18436" name="Picture 5" descr="Untitled-1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3714" y="1058864"/>
            <a:ext cx="6864048" cy="523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>
            <a:spLocks noChangeArrowheads="1"/>
          </p:cNvSpPr>
          <p:nvPr/>
        </p:nvSpPr>
        <p:spPr bwMode="auto">
          <a:xfrm>
            <a:off x="3720798" y="3262314"/>
            <a:ext cx="500440" cy="1081980"/>
          </a:xfrm>
          <a:prstGeom prst="ellipse">
            <a:avLst/>
          </a:prstGeom>
          <a:noFill/>
          <a:ln w="57150" algn="ctr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algn="r"/>
            <a:endParaRPr lang="en-US" sz="4400">
              <a:latin typeface="Tahoma" pitchFamily="34" charset="0"/>
            </a:endParaRPr>
          </a:p>
        </p:txBody>
      </p:sp>
      <p:sp>
        <p:nvSpPr>
          <p:cNvPr id="18438" name="TextBox 8"/>
          <p:cNvSpPr txBox="1">
            <a:spLocks noChangeArrowheads="1"/>
          </p:cNvSpPr>
          <p:nvPr/>
        </p:nvSpPr>
        <p:spPr bwMode="auto">
          <a:xfrm>
            <a:off x="1233714" y="6359525"/>
            <a:ext cx="49139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Key tiger landscape, western Thailand</a:t>
            </a:r>
          </a:p>
        </p:txBody>
      </p:sp>
    </p:spTree>
    <p:extLst>
      <p:ext uri="{BB962C8B-B14F-4D97-AF65-F5344CB8AC3E}">
        <p14:creationId xmlns:p14="http://schemas.microsoft.com/office/powerpoint/2010/main" val="4011901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Title 1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1: The Site</a:t>
            </a:r>
          </a:p>
        </p:txBody>
      </p:sp>
      <p:pic>
        <p:nvPicPr>
          <p:cNvPr id="19460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30"/>
          <a:stretch>
            <a:fillRect/>
          </a:stretch>
        </p:blipFill>
        <p:spPr bwMode="auto">
          <a:xfrm>
            <a:off x="9072" y="1309688"/>
            <a:ext cx="7973786" cy="556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61" name="Picture 9" descr="legend_rout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798" y="1295401"/>
            <a:ext cx="2375202" cy="25447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462" name="TextBox 1"/>
          <p:cNvSpPr txBox="1">
            <a:spLocks noChangeArrowheads="1"/>
          </p:cNvSpPr>
          <p:nvPr/>
        </p:nvSpPr>
        <p:spPr bwMode="auto">
          <a:xfrm>
            <a:off x="792238" y="1446213"/>
            <a:ext cx="294741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/>
              <a:t>SMART PATROLS 2004</a:t>
            </a:r>
          </a:p>
        </p:txBody>
      </p:sp>
    </p:spTree>
    <p:extLst>
      <p:ext uri="{BB962C8B-B14F-4D97-AF65-F5344CB8AC3E}">
        <p14:creationId xmlns:p14="http://schemas.microsoft.com/office/powerpoint/2010/main" val="3050449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Title 1"/>
          <p:cNvSpPr>
            <a:spLocks noGrp="1"/>
          </p:cNvSpPr>
          <p:nvPr>
            <p:ph type="title"/>
          </p:nvPr>
        </p:nvSpPr>
        <p:spPr>
          <a:xfrm>
            <a:off x="457200" y="-152400"/>
            <a:ext cx="8229600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1: The Site</a:t>
            </a:r>
          </a:p>
        </p:txBody>
      </p:sp>
      <p:pic>
        <p:nvPicPr>
          <p:cNvPr id="20484" name="Picture 8" descr="patrol_rout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004888"/>
            <a:ext cx="7304012" cy="561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5" name="Picture 10" descr="legend_rout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798" y="1279721"/>
            <a:ext cx="2375202" cy="25447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486" name="TextBox 11"/>
          <p:cNvSpPr txBox="1">
            <a:spLocks noChangeArrowheads="1"/>
          </p:cNvSpPr>
          <p:nvPr/>
        </p:nvSpPr>
        <p:spPr bwMode="auto">
          <a:xfrm>
            <a:off x="792238" y="1446213"/>
            <a:ext cx="292836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/>
              <a:t>SMART PATROLS 2011</a:t>
            </a:r>
          </a:p>
        </p:txBody>
      </p:sp>
    </p:spTree>
    <p:extLst>
      <p:ext uri="{BB962C8B-B14F-4D97-AF65-F5344CB8AC3E}">
        <p14:creationId xmlns:p14="http://schemas.microsoft.com/office/powerpoint/2010/main" val="37758868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8" name="TextBox 8"/>
          <p:cNvSpPr txBox="1">
            <a:spLocks noChangeArrowheads="1"/>
          </p:cNvSpPr>
          <p:nvPr/>
        </p:nvSpPr>
        <p:spPr bwMode="auto">
          <a:xfrm>
            <a:off x="1233714" y="6359525"/>
            <a:ext cx="452739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/>
              <a:t>Key tiger landscape, western Thailand</a:t>
            </a:r>
          </a:p>
        </p:txBody>
      </p:sp>
      <p:pic>
        <p:nvPicPr>
          <p:cNvPr id="21509" name="Picture 2"/>
          <p:cNvPicPr>
            <a:picLocks noChangeAspect="1" noChangeArrowheads="1"/>
          </p:cNvPicPr>
          <p:nvPr/>
        </p:nvPicPr>
        <p:blipFill>
          <a:blip r:embed="rId3">
            <a:lum bright="-10000"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333" y="1093788"/>
            <a:ext cx="8726714" cy="6069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1510" name="Object 2"/>
          <p:cNvGraphicFramePr>
            <a:graphicFrameLocks noChangeAspect="1"/>
          </p:cNvGraphicFramePr>
          <p:nvPr/>
        </p:nvGraphicFramePr>
        <p:xfrm>
          <a:off x="65013" y="1295400"/>
          <a:ext cx="8741833" cy="5251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0" name="Worksheet" r:id="rId5" imgW="7124700" imgH="3133750" progId="Excel.Sheet.8">
                  <p:embed/>
                </p:oleObj>
              </mc:Choice>
              <mc:Fallback>
                <p:oleObj name="Worksheet" r:id="rId5" imgW="7124700" imgH="3133750" progId="Excel.Shee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013" y="1295400"/>
                        <a:ext cx="8741833" cy="5251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11" name="TextBox 5"/>
          <p:cNvSpPr txBox="1">
            <a:spLocks noChangeArrowheads="1"/>
          </p:cNvSpPr>
          <p:nvPr/>
        </p:nvSpPr>
        <p:spPr bwMode="auto">
          <a:xfrm>
            <a:off x="3469823" y="5732463"/>
            <a:ext cx="306859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>
                <a:solidFill>
                  <a:schemeClr val="bg1"/>
                </a:solidFill>
              </a:rPr>
              <a:t>Tiger numbers increasing</a:t>
            </a: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57200" y="-1524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1: The Site</a:t>
            </a:r>
            <a:endParaRPr lang="en-US" sz="2400" dirty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453823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1" descr="C:\Downloads\BBS_Informant.jpg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275772" y="1196975"/>
            <a:ext cx="3878790" cy="3250536"/>
          </a:xfrm>
          <a:noFill/>
        </p:spPr>
      </p:pic>
      <p:sp>
        <p:nvSpPr>
          <p:cNvPr id="22532" name="ValueChainHeader"/>
          <p:cNvSpPr>
            <a:spLocks noChangeArrowheads="1"/>
          </p:cNvSpPr>
          <p:nvPr/>
        </p:nvSpPr>
        <p:spPr bwMode="auto">
          <a:xfrm>
            <a:off x="458108" y="1196975"/>
            <a:ext cx="2208892" cy="533400"/>
          </a:xfrm>
          <a:prstGeom prst="chevron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Landscape</a:t>
            </a:r>
          </a:p>
        </p:txBody>
      </p:sp>
      <p:sp>
        <p:nvSpPr>
          <p:cNvPr id="22533" name="Rectangle 30"/>
          <p:cNvSpPr>
            <a:spLocks noChangeArrowheads="1"/>
          </p:cNvSpPr>
          <p:nvPr/>
        </p:nvSpPr>
        <p:spPr bwMode="gray">
          <a:xfrm>
            <a:off x="465667" y="1700214"/>
            <a:ext cx="2072822" cy="6191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800">
                <a:solidFill>
                  <a:schemeClr val="tx1"/>
                </a:solidFill>
              </a:rPr>
              <a:t>Criminal networks</a:t>
            </a:r>
          </a:p>
        </p:txBody>
      </p:sp>
      <p:pic>
        <p:nvPicPr>
          <p:cNvPr id="22534" name="Picture 18" descr="IMG_0926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41" y="2301876"/>
            <a:ext cx="2025952" cy="163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5" name="Rectangle 30"/>
          <p:cNvSpPr>
            <a:spLocks noChangeArrowheads="1"/>
          </p:cNvSpPr>
          <p:nvPr/>
        </p:nvSpPr>
        <p:spPr bwMode="gray">
          <a:xfrm>
            <a:off x="465667" y="3779839"/>
            <a:ext cx="2072822" cy="11588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Towns and villages in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and around landscapes 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where middlemen</a:t>
            </a:r>
          </a:p>
          <a:p>
            <a:pPr algn="ctr"/>
            <a:r>
              <a:rPr lang="en-US" sz="1600" dirty="0">
                <a:solidFill>
                  <a:schemeClr val="tx1"/>
                </a:solidFill>
              </a:rPr>
              <a:t>buy and sell wildlife</a:t>
            </a:r>
          </a:p>
        </p:txBody>
      </p:sp>
      <p:sp>
        <p:nvSpPr>
          <p:cNvPr id="22538" name="TextBox 10"/>
          <p:cNvSpPr txBox="1">
            <a:spLocks noChangeArrowheads="1"/>
          </p:cNvSpPr>
          <p:nvPr/>
        </p:nvSpPr>
        <p:spPr bwMode="auto">
          <a:xfrm>
            <a:off x="350762" y="5054600"/>
            <a:ext cx="2648857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800" dirty="0" smtClean="0">
                <a:solidFill>
                  <a:srgbClr val="FFFFFF"/>
                </a:solidFill>
                <a:latin typeface="Century Gothic"/>
                <a:cs typeface="Century Gothic"/>
              </a:rPr>
              <a:t>Intelligence-led </a:t>
            </a:r>
            <a:r>
              <a:rPr lang="en-US" sz="1800" dirty="0">
                <a:solidFill>
                  <a:srgbClr val="FFFFFF"/>
                </a:solidFill>
                <a:latin typeface="Century Gothic"/>
                <a:cs typeface="Century Gothic"/>
              </a:rPr>
              <a:t>Wildlife Crime Units e.g., across Sumatra, Indonesia</a:t>
            </a:r>
            <a:endParaRPr lang="en-SG" sz="18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12" name="Title 1"/>
          <p:cNvSpPr txBox="1">
            <a:spLocks/>
          </p:cNvSpPr>
          <p:nvPr/>
        </p:nvSpPr>
        <p:spPr>
          <a:xfrm>
            <a:off x="457200" y="-1524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2: The Landscape</a:t>
            </a:r>
            <a:endParaRPr lang="en-US" sz="2400" dirty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  <p:pic>
        <p:nvPicPr>
          <p:cNvPr id="4" name="Picture 3" descr="06122006562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2239" y="4579911"/>
            <a:ext cx="2732928" cy="2049696"/>
          </a:xfrm>
          <a:prstGeom prst="rect">
            <a:avLst/>
          </a:prstGeom>
        </p:spPr>
      </p:pic>
      <p:pic>
        <p:nvPicPr>
          <p:cNvPr id="5" name="Picture 4" descr="macaca1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5167" y="4579911"/>
            <a:ext cx="2732928" cy="2049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00031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25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25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8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kulit harimau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6668" y="1208325"/>
            <a:ext cx="3224700" cy="4299600"/>
          </a:xfrm>
          <a:prstGeom prst="rect">
            <a:avLst/>
          </a:prstGeom>
        </p:spPr>
      </p:pic>
      <p:pic>
        <p:nvPicPr>
          <p:cNvPr id="6" name="Picture 5" descr="P8290088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113918" y="1745775"/>
            <a:ext cx="4299601" cy="322470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87006" y="5637138"/>
            <a:ext cx="903212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Wildlife Crimes Units </a:t>
            </a:r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have led to 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the arrest </a:t>
            </a:r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of 60% of criminals related to tiger syndicates operating out of </a:t>
            </a:r>
            <a:r>
              <a:rPr lang="en-US" sz="2000" dirty="0" err="1" smtClean="0">
                <a:solidFill>
                  <a:srgbClr val="FFFFFF"/>
                </a:solidFill>
                <a:latin typeface="Century Gothic"/>
                <a:cs typeface="Century Gothic"/>
              </a:rPr>
              <a:t>Gunung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lang="en-US" sz="2000" dirty="0" err="1" smtClean="0">
                <a:solidFill>
                  <a:srgbClr val="FFFFFF"/>
                </a:solidFill>
                <a:latin typeface="Century Gothic"/>
                <a:cs typeface="Century Gothic"/>
              </a:rPr>
              <a:t>Leuser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 in North Sumatra, </a:t>
            </a:r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and are now focused on the other 40%.  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57200" y="-152400"/>
            <a:ext cx="8229600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2: The Landscape</a:t>
            </a:r>
          </a:p>
        </p:txBody>
      </p:sp>
    </p:spTree>
    <p:extLst>
      <p:ext uri="{BB962C8B-B14F-4D97-AF65-F5344CB8AC3E}">
        <p14:creationId xmlns:p14="http://schemas.microsoft.com/office/powerpoint/2010/main" val="1735200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. American indian girl and peccary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4220" y="1016532"/>
            <a:ext cx="2973115" cy="437349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88135" y="35724"/>
            <a:ext cx="89049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Hunting is almost </a:t>
            </a:r>
            <a:r>
              <a:rPr lang="en-US" sz="2400" dirty="0" err="1" smtClean="0">
                <a:solidFill>
                  <a:srgbClr val="FFFFFF"/>
                </a:solidFill>
                <a:latin typeface="Century Gothic"/>
                <a:cs typeface="Century Gothic"/>
              </a:rPr>
              <a:t>ubiqutous</a:t>
            </a:r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 across Latin America. Its intensity, and hence sustainability, is a spectrum.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25422" y="5508011"/>
            <a:ext cx="9065611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Local hunting for food. Many species. For some species in some areas, sustainable (low human population densities). Might or might not be legal.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5842655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43191" y="2931675"/>
            <a:ext cx="5075138" cy="3926325"/>
          </a:xfrm>
          <a:prstGeom prst="rect">
            <a:avLst/>
          </a:prstGeom>
        </p:spPr>
      </p:pic>
      <p:pic>
        <p:nvPicPr>
          <p:cNvPr id="6" name="Picture 5" descr="Joni Rambo and Orang-utan 3-blurre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940794"/>
            <a:ext cx="4043190" cy="591720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489676" y="1340786"/>
            <a:ext cx="414646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July-Dec 2014, WCS catalyzed the arrests of  7 known </a:t>
            </a:r>
            <a:r>
              <a:rPr lang="en-US" sz="2000" dirty="0" err="1" smtClean="0">
                <a:solidFill>
                  <a:srgbClr val="FFFFFF"/>
                </a:solidFill>
                <a:latin typeface="Century Gothic"/>
                <a:cs typeface="Century Gothic"/>
              </a:rPr>
              <a:t>orang-utan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 traders, with convictions and jail time for 2.</a:t>
            </a:r>
            <a:endParaRPr lang="en-US" sz="20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57200" y="-152400"/>
            <a:ext cx="8229600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2: The Landscape</a:t>
            </a:r>
          </a:p>
        </p:txBody>
      </p:sp>
    </p:spTree>
    <p:extLst>
      <p:ext uri="{BB962C8B-B14F-4D97-AF65-F5344CB8AC3E}">
        <p14:creationId xmlns:p14="http://schemas.microsoft.com/office/powerpoint/2010/main" val="3781693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43" descr="MongCaiMap4[1]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5275" y="1387475"/>
            <a:ext cx="6442226" cy="478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0" name="ValueChainHeader"/>
          <p:cNvSpPr>
            <a:spLocks noChangeArrowheads="1"/>
          </p:cNvSpPr>
          <p:nvPr/>
        </p:nvSpPr>
        <p:spPr bwMode="auto">
          <a:xfrm>
            <a:off x="459619" y="1196975"/>
            <a:ext cx="2208893" cy="533400"/>
          </a:xfrm>
          <a:prstGeom prst="chevron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Transport nodes</a:t>
            </a:r>
          </a:p>
        </p:txBody>
      </p:sp>
      <p:sp>
        <p:nvSpPr>
          <p:cNvPr id="24581" name="Rectangle 34"/>
          <p:cNvSpPr>
            <a:spLocks noChangeArrowheads="1"/>
          </p:cNvSpPr>
          <p:nvPr/>
        </p:nvSpPr>
        <p:spPr bwMode="gray">
          <a:xfrm>
            <a:off x="474739" y="1700214"/>
            <a:ext cx="2072822" cy="6191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800" dirty="0">
                <a:solidFill>
                  <a:schemeClr val="tx1"/>
                </a:solidFill>
              </a:rPr>
              <a:t>Global transport</a:t>
            </a:r>
          </a:p>
        </p:txBody>
      </p:sp>
      <p:pic>
        <p:nvPicPr>
          <p:cNvPr id="24582" name="Picture 16" descr="KaLongPort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833" y="2170114"/>
            <a:ext cx="2050143" cy="160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3" name="Rectangle 34"/>
          <p:cNvSpPr>
            <a:spLocks noChangeArrowheads="1"/>
          </p:cNvSpPr>
          <p:nvPr/>
        </p:nvSpPr>
        <p:spPr bwMode="gray">
          <a:xfrm>
            <a:off x="474739" y="3779839"/>
            <a:ext cx="2072822" cy="11588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Where trade flows 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converge -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 international borders, 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ports, airports</a:t>
            </a:r>
          </a:p>
        </p:txBody>
      </p:sp>
      <p:sp>
        <p:nvSpPr>
          <p:cNvPr id="24584" name="TextBox 9"/>
          <p:cNvSpPr txBox="1">
            <a:spLocks noChangeArrowheads="1"/>
          </p:cNvSpPr>
          <p:nvPr/>
        </p:nvSpPr>
        <p:spPr bwMode="auto">
          <a:xfrm>
            <a:off x="147259" y="5075237"/>
            <a:ext cx="2595941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Working with law enforcement partners e.g., at a key Vietnam/China border crossing</a:t>
            </a:r>
            <a:endParaRPr lang="en-SG" sz="20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pic>
        <p:nvPicPr>
          <p:cNvPr id="24585" name="Picture 40" descr="DSC07692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239" y="4135438"/>
            <a:ext cx="3129643" cy="251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457200" y="-15240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3: The Transport Nodes</a:t>
            </a:r>
            <a:endParaRPr lang="en-US" sz="2400" dirty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87910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45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45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458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458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45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8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0799" y="1005298"/>
            <a:ext cx="3241401" cy="486210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3025" y="1005298"/>
            <a:ext cx="3239376" cy="4862102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57199" y="6019800"/>
            <a:ext cx="841636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Deploying ivory-detection sniffer dogs</a:t>
            </a:r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at key ports and airports</a:t>
            </a:r>
            <a:endParaRPr lang="en-US" sz="20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8" name="Title 1"/>
          <p:cNvSpPr txBox="1">
            <a:spLocks/>
          </p:cNvSpPr>
          <p:nvPr/>
        </p:nvSpPr>
        <p:spPr>
          <a:xfrm>
            <a:off x="457200" y="-12104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3: The Transport Nodes</a:t>
            </a:r>
            <a:endParaRPr lang="en-US" sz="2400" dirty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402523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ValueChainHeader"/>
          <p:cNvSpPr>
            <a:spLocks noChangeArrowheads="1"/>
          </p:cNvSpPr>
          <p:nvPr/>
        </p:nvSpPr>
        <p:spPr bwMode="auto">
          <a:xfrm>
            <a:off x="474738" y="1196975"/>
            <a:ext cx="2207381" cy="533400"/>
          </a:xfrm>
          <a:prstGeom prst="chevron">
            <a:avLst>
              <a:gd name="adj" fmla="val 27721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End point</a:t>
            </a:r>
          </a:p>
        </p:txBody>
      </p:sp>
      <p:sp>
        <p:nvSpPr>
          <p:cNvPr id="26628" name="Rectangle 38"/>
          <p:cNvSpPr>
            <a:spLocks noChangeArrowheads="1"/>
          </p:cNvSpPr>
          <p:nvPr/>
        </p:nvSpPr>
        <p:spPr bwMode="gray">
          <a:xfrm>
            <a:off x="497417" y="1700214"/>
            <a:ext cx="2072821" cy="6191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800">
                <a:solidFill>
                  <a:schemeClr val="tx1"/>
                </a:solidFill>
              </a:rPr>
              <a:t>Sales</a:t>
            </a:r>
          </a:p>
        </p:txBody>
      </p:sp>
      <p:pic>
        <p:nvPicPr>
          <p:cNvPr id="26629" name="Picture 21" descr="IMG_1841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36"/>
          <a:stretch>
            <a:fillRect/>
          </a:stretch>
        </p:blipFill>
        <p:spPr bwMode="auto">
          <a:xfrm>
            <a:off x="497417" y="2217739"/>
            <a:ext cx="2097011" cy="1582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30" name="Rectangle 38"/>
          <p:cNvSpPr>
            <a:spLocks noChangeArrowheads="1"/>
          </p:cNvSpPr>
          <p:nvPr/>
        </p:nvSpPr>
        <p:spPr bwMode="gray">
          <a:xfrm>
            <a:off x="497417" y="3779839"/>
            <a:ext cx="2072821" cy="11588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/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 algn="ctr"/>
            <a:r>
              <a:rPr lang="en-US" sz="1600">
                <a:solidFill>
                  <a:schemeClr val="tx1"/>
                </a:solidFill>
              </a:rPr>
              <a:t>Urban areas where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 products are sold </a:t>
            </a:r>
          </a:p>
          <a:p>
            <a:pPr algn="ctr"/>
            <a:r>
              <a:rPr lang="en-US" sz="1600">
                <a:solidFill>
                  <a:schemeClr val="tx1"/>
                </a:solidFill>
              </a:rPr>
              <a:t>to consumers</a:t>
            </a:r>
          </a:p>
        </p:txBody>
      </p:sp>
      <p:sp>
        <p:nvSpPr>
          <p:cNvPr id="26633" name="TextBox 2"/>
          <p:cNvSpPr txBox="1">
            <a:spLocks noChangeArrowheads="1"/>
          </p:cNvSpPr>
          <p:nvPr/>
        </p:nvSpPr>
        <p:spPr bwMode="auto">
          <a:xfrm>
            <a:off x="251041" y="4967261"/>
            <a:ext cx="3056944" cy="1631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Working to increase detection and enforcement 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at Customs and markets in </a:t>
            </a:r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southern China</a:t>
            </a:r>
            <a:endParaRPr lang="en-SG" sz="20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457200" y="23959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4: The End Points</a:t>
            </a:r>
            <a:endParaRPr lang="en-US" sz="2400" dirty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  <p:pic>
        <p:nvPicPr>
          <p:cNvPr id="3" name="Picture 2" descr="Chinese Customs EZhan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3330" y="1695007"/>
            <a:ext cx="4544797" cy="3272254"/>
          </a:xfrm>
          <a:prstGeom prst="rect">
            <a:avLst/>
          </a:prstGeom>
        </p:spPr>
      </p:pic>
      <p:pic>
        <p:nvPicPr>
          <p:cNvPr id="12" name="Picture 9" descr="http://www.erdball.info/images/photos/Singapur/mini-9_China_Saiga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2973" y="3740322"/>
            <a:ext cx="3043827" cy="23967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5784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66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63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299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" y="1565045"/>
            <a:ext cx="4700932" cy="3133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5301" name="TextBox 6"/>
          <p:cNvSpPr txBox="1">
            <a:spLocks noChangeArrowheads="1"/>
          </p:cNvSpPr>
          <p:nvPr/>
        </p:nvSpPr>
        <p:spPr bwMode="auto">
          <a:xfrm>
            <a:off x="381000" y="5105400"/>
            <a:ext cx="41148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Century Gothic" charset="0"/>
              </a:rPr>
              <a:t>Influence senior leaders.  Strong government action leads to major behavior change.</a:t>
            </a:r>
          </a:p>
        </p:txBody>
      </p:sp>
      <p:sp>
        <p:nvSpPr>
          <p:cNvPr id="55302" name="TextBox 7"/>
          <p:cNvSpPr txBox="1">
            <a:spLocks noChangeArrowheads="1"/>
          </p:cNvSpPr>
          <p:nvPr/>
        </p:nvSpPr>
        <p:spPr bwMode="auto">
          <a:xfrm>
            <a:off x="4724400" y="5105400"/>
            <a:ext cx="45720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000" dirty="0">
                <a:solidFill>
                  <a:schemeClr val="bg1"/>
                </a:solidFill>
                <a:latin typeface="Century Gothic" charset="0"/>
              </a:rPr>
              <a:t>Influence public perceptions. Reducing demand is critical.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457200" y="23959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Wildlife trade chain from hunting to sale – </a:t>
            </a:r>
            <a:b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</a:br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Level 4: The End Points</a:t>
            </a:r>
            <a:endParaRPr lang="en-US" sz="2400" dirty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6273" y="1565045"/>
            <a:ext cx="4487727" cy="3133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>
                    <a:alpha val="85097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>
                    <a:alpha val="85097"/>
                  </a:srgbClr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04570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3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302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119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5" name="think-cell Slide" r:id="rId6" imgW="38100" imgH="38100" progId="">
                  <p:embed/>
                </p:oleObj>
              </mc:Choice>
              <mc:Fallback>
                <p:oleObj name="think-cell Slide" r:id="rId6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119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676" name="Rectangle 33"/>
          <p:cNvSpPr>
            <a:spLocks noChangeArrowheads="1"/>
          </p:cNvSpPr>
          <p:nvPr/>
        </p:nvSpPr>
        <p:spPr bwMode="gray">
          <a:xfrm>
            <a:off x="435429" y="1901826"/>
            <a:ext cx="8403167" cy="1133475"/>
          </a:xfrm>
          <a:prstGeom prst="rect">
            <a:avLst/>
          </a:prstGeom>
          <a:noFill/>
          <a:ln w="9525">
            <a:noFill/>
            <a:round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r>
              <a:rPr lang="en-US" sz="1600" b="1" dirty="0"/>
              <a:t>Strengthen enforcement capacity: </a:t>
            </a:r>
            <a:r>
              <a:rPr lang="en-US" sz="1600" dirty="0"/>
              <a:t>Provide </a:t>
            </a:r>
            <a:r>
              <a:rPr lang="en-US" sz="1600" dirty="0" smtClean="0"/>
              <a:t>training </a:t>
            </a:r>
            <a:r>
              <a:rPr lang="en-US" sz="1600" dirty="0"/>
              <a:t>and support to front-line enforcement </a:t>
            </a:r>
            <a:r>
              <a:rPr lang="en-US" sz="1600" dirty="0" smtClean="0"/>
              <a:t>staff. </a:t>
            </a:r>
            <a:endParaRPr lang="en-US" sz="1600" dirty="0"/>
          </a:p>
          <a:p>
            <a:pPr>
              <a:buFont typeface="Arial" charset="0"/>
              <a:buAutoNum type="arabicPeriod"/>
            </a:pPr>
            <a:r>
              <a:rPr lang="en-US" sz="1600" dirty="0"/>
              <a:t>Institutionalizing training programs into the curricula of key agencies</a:t>
            </a:r>
            <a:endParaRPr lang="en-US" sz="1600" b="1" dirty="0"/>
          </a:p>
          <a:p>
            <a:pPr>
              <a:buFont typeface="Arial" charset="0"/>
              <a:buAutoNum type="arabicPeriod"/>
            </a:pPr>
            <a:r>
              <a:rPr lang="en-US" sz="1600" dirty="0"/>
              <a:t>New technology for enforcement officers e.g., identification apps</a:t>
            </a:r>
          </a:p>
        </p:txBody>
      </p:sp>
      <p:sp>
        <p:nvSpPr>
          <p:cNvPr id="28677" name="ValueChainStarter"/>
          <p:cNvSpPr>
            <a:spLocks noChangeArrowheads="1"/>
          </p:cNvSpPr>
          <p:nvPr/>
        </p:nvSpPr>
        <p:spPr bwMode="auto">
          <a:xfrm>
            <a:off x="435429" y="1211263"/>
            <a:ext cx="2208893" cy="533400"/>
          </a:xfrm>
          <a:prstGeom prst="homePlate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Site</a:t>
            </a:r>
          </a:p>
        </p:txBody>
      </p:sp>
      <p:sp>
        <p:nvSpPr>
          <p:cNvPr id="28678" name="ValueChainHeader"/>
          <p:cNvSpPr>
            <a:spLocks noChangeArrowheads="1"/>
          </p:cNvSpPr>
          <p:nvPr/>
        </p:nvSpPr>
        <p:spPr bwMode="auto">
          <a:xfrm>
            <a:off x="2506738" y="1211263"/>
            <a:ext cx="2208893" cy="533400"/>
          </a:xfrm>
          <a:prstGeom prst="chevron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Landscape</a:t>
            </a:r>
          </a:p>
        </p:txBody>
      </p:sp>
      <p:sp>
        <p:nvSpPr>
          <p:cNvPr id="28679" name="ValueChainHeader"/>
          <p:cNvSpPr>
            <a:spLocks noChangeArrowheads="1"/>
          </p:cNvSpPr>
          <p:nvPr/>
        </p:nvSpPr>
        <p:spPr bwMode="auto">
          <a:xfrm>
            <a:off x="4576537" y="1211263"/>
            <a:ext cx="2208892" cy="533400"/>
          </a:xfrm>
          <a:prstGeom prst="chevron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Trade nodes</a:t>
            </a:r>
          </a:p>
        </p:txBody>
      </p:sp>
      <p:sp>
        <p:nvSpPr>
          <p:cNvPr id="28680" name="ValueChainHeader"/>
          <p:cNvSpPr>
            <a:spLocks noChangeArrowheads="1"/>
          </p:cNvSpPr>
          <p:nvPr/>
        </p:nvSpPr>
        <p:spPr bwMode="auto">
          <a:xfrm>
            <a:off x="6647846" y="1211263"/>
            <a:ext cx="2207381" cy="533400"/>
          </a:xfrm>
          <a:prstGeom prst="chevron">
            <a:avLst>
              <a:gd name="adj" fmla="val 27721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End point</a:t>
            </a:r>
          </a:p>
        </p:txBody>
      </p:sp>
      <p:sp>
        <p:nvSpPr>
          <p:cNvPr id="28681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037167" y="171450"/>
            <a:ext cx="7657798" cy="83185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At all levels: Working to strengthen enforcement capacity</a:t>
            </a:r>
            <a:endParaRPr lang="en-US" sz="2400" b="0" i="1" dirty="0" smtClean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  <p:pic>
        <p:nvPicPr>
          <p:cNvPr id="28682" name="Picture 22" descr="image.jpe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9809" y="2881403"/>
            <a:ext cx="1291643" cy="2669286"/>
          </a:xfrm>
          <a:prstGeom prst="rect">
            <a:avLst/>
          </a:prstGeom>
          <a:noFill/>
          <a:ln w="28575" cmpd="sng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Thai ranger training with GPS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848" y="2890290"/>
            <a:ext cx="3802961" cy="2669287"/>
          </a:xfrm>
          <a:prstGeom prst="rect">
            <a:avLst/>
          </a:prstGeom>
        </p:spPr>
      </p:pic>
      <p:pic>
        <p:nvPicPr>
          <p:cNvPr id="3" name="Picture 2" descr="FPD Rangers seize products from a restaurant Aug10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1452" y="2881403"/>
            <a:ext cx="3570899" cy="2678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456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119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9" name="think-cell Slide" r:id="rId6" imgW="38100" imgH="38100" progId="">
                  <p:embed/>
                </p:oleObj>
              </mc:Choice>
              <mc:Fallback>
                <p:oleObj name="think-cell Slide" r:id="rId6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119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9" name="ValueChainStarter"/>
          <p:cNvSpPr>
            <a:spLocks noChangeArrowheads="1"/>
          </p:cNvSpPr>
          <p:nvPr/>
        </p:nvSpPr>
        <p:spPr bwMode="auto">
          <a:xfrm>
            <a:off x="435429" y="1374775"/>
            <a:ext cx="2208893" cy="533400"/>
          </a:xfrm>
          <a:prstGeom prst="homePlate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Site</a:t>
            </a:r>
          </a:p>
        </p:txBody>
      </p:sp>
      <p:sp>
        <p:nvSpPr>
          <p:cNvPr id="29700" name="ValueChainHeader"/>
          <p:cNvSpPr>
            <a:spLocks noChangeArrowheads="1"/>
          </p:cNvSpPr>
          <p:nvPr/>
        </p:nvSpPr>
        <p:spPr bwMode="auto">
          <a:xfrm>
            <a:off x="2506738" y="1374775"/>
            <a:ext cx="2208893" cy="533400"/>
          </a:xfrm>
          <a:prstGeom prst="chevron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Landscape</a:t>
            </a:r>
          </a:p>
        </p:txBody>
      </p:sp>
      <p:sp>
        <p:nvSpPr>
          <p:cNvPr id="29701" name="ValueChainHeader"/>
          <p:cNvSpPr>
            <a:spLocks noChangeArrowheads="1"/>
          </p:cNvSpPr>
          <p:nvPr/>
        </p:nvSpPr>
        <p:spPr bwMode="auto">
          <a:xfrm>
            <a:off x="4576537" y="1374775"/>
            <a:ext cx="2208892" cy="533400"/>
          </a:xfrm>
          <a:prstGeom prst="chevron">
            <a:avLst>
              <a:gd name="adj" fmla="val 27740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Trade nodes</a:t>
            </a:r>
          </a:p>
        </p:txBody>
      </p:sp>
      <p:sp>
        <p:nvSpPr>
          <p:cNvPr id="29702" name="ValueChainHeader"/>
          <p:cNvSpPr>
            <a:spLocks noChangeArrowheads="1"/>
          </p:cNvSpPr>
          <p:nvPr/>
        </p:nvSpPr>
        <p:spPr bwMode="auto">
          <a:xfrm>
            <a:off x="6647846" y="1374775"/>
            <a:ext cx="2207381" cy="533400"/>
          </a:xfrm>
          <a:prstGeom prst="chevron">
            <a:avLst>
              <a:gd name="adj" fmla="val 27721"/>
            </a:avLst>
          </a:prstGeom>
          <a:solidFill>
            <a:schemeClr val="tx2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lIns="182880" tIns="91440" bIns="91440" anchor="ctr"/>
          <a:lstStyle/>
          <a:p>
            <a:pPr algn="ctr" eaLnBrk="0" hangingPunct="0"/>
            <a:r>
              <a:rPr lang="en-US" sz="1600" b="1">
                <a:solidFill>
                  <a:srgbClr val="FFFFFF"/>
                </a:solidFill>
              </a:rPr>
              <a:t>End point</a:t>
            </a:r>
          </a:p>
        </p:txBody>
      </p:sp>
      <p:sp>
        <p:nvSpPr>
          <p:cNvPr id="29703" name="Rectangle 33"/>
          <p:cNvSpPr>
            <a:spLocks noChangeArrowheads="1"/>
          </p:cNvSpPr>
          <p:nvPr/>
        </p:nvSpPr>
        <p:spPr bwMode="gray">
          <a:xfrm>
            <a:off x="514048" y="2149476"/>
            <a:ext cx="8403167" cy="976313"/>
          </a:xfrm>
          <a:prstGeom prst="rect">
            <a:avLst/>
          </a:prstGeom>
          <a:noFill/>
          <a:ln w="9525">
            <a:noFill/>
            <a:round/>
            <a:headEnd type="none" w="lg" len="lg"/>
            <a:tailEnd type="none" w="lg" len="lg"/>
          </a:ln>
        </p:spPr>
        <p:txBody>
          <a:bodyPr tIns="91440" bIns="91440" anchor="ctr"/>
          <a:lstStyle/>
          <a:p>
            <a:r>
              <a:rPr lang="en-US" sz="1600" b="1" dirty="0"/>
              <a:t>Improve efficiency of the legal process: </a:t>
            </a:r>
            <a:r>
              <a:rPr lang="en-US" sz="1600" dirty="0"/>
              <a:t>Provide training, awareness-raising and support to judiciary, prosecutors, media.</a:t>
            </a:r>
          </a:p>
        </p:txBody>
      </p:sp>
      <p:sp>
        <p:nvSpPr>
          <p:cNvPr id="29704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180558"/>
            <a:ext cx="8229600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At all levels: Working to improve efficiency of the legal process</a:t>
            </a:r>
            <a:endParaRPr lang="en-US" sz="2400" b="0" i="1" dirty="0" smtClean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  <p:graphicFrame>
        <p:nvGraphicFramePr>
          <p:cNvPr id="17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3937133"/>
              </p:ext>
            </p:extLst>
          </p:nvPr>
        </p:nvGraphicFramePr>
        <p:xfrm>
          <a:off x="2872528" y="2603850"/>
          <a:ext cx="5769429" cy="3863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9706" name="TextBox 2"/>
          <p:cNvSpPr txBox="1">
            <a:spLocks noChangeArrowheads="1"/>
          </p:cNvSpPr>
          <p:nvPr/>
        </p:nvSpPr>
        <p:spPr bwMode="auto">
          <a:xfrm>
            <a:off x="371040" y="4910391"/>
            <a:ext cx="2586870" cy="1076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1600" dirty="0">
                <a:solidFill>
                  <a:srgbClr val="FFFFFF"/>
                </a:solidFill>
                <a:latin typeface="Century Gothic"/>
                <a:cs typeface="Century Gothic"/>
              </a:rPr>
              <a:t>WCU Indonesia successful prosecution </a:t>
            </a:r>
            <a:r>
              <a:rPr lang="en-US" sz="1600" dirty="0" smtClean="0">
                <a:solidFill>
                  <a:srgbClr val="FFFFFF"/>
                </a:solidFill>
                <a:latin typeface="Century Gothic"/>
                <a:cs typeface="Century Gothic"/>
              </a:rPr>
              <a:t>rate, </a:t>
            </a:r>
            <a:r>
              <a:rPr lang="en-US" sz="1600" dirty="0">
                <a:solidFill>
                  <a:srgbClr val="FFFFFF"/>
                </a:solidFill>
                <a:latin typeface="Century Gothic"/>
                <a:cs typeface="Century Gothic"/>
              </a:rPr>
              <a:t>against a national background of 5%</a:t>
            </a:r>
            <a:endParaRPr lang="en-SG" sz="16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74" y="2748473"/>
            <a:ext cx="2018847" cy="2018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05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1099" y="180558"/>
            <a:ext cx="8545701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At national and international levels: Working to improve policies and laws</a:t>
            </a:r>
            <a:endParaRPr lang="en-US" sz="2400" b="0" i="1" dirty="0" smtClean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  <p:pic>
        <p:nvPicPr>
          <p:cNvPr id="6" name="Picture 5" descr="John Scanlong CITES CoP16 opening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021" y="1323558"/>
            <a:ext cx="3670037" cy="3242082"/>
          </a:xfrm>
          <a:prstGeom prst="rect">
            <a:avLst/>
          </a:prstGeom>
        </p:spPr>
      </p:pic>
      <p:pic>
        <p:nvPicPr>
          <p:cNvPr id="7" name="Picture 6" descr="CITES_theHague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8073" y="1323558"/>
            <a:ext cx="4322777" cy="3242082"/>
          </a:xfrm>
          <a:prstGeom prst="rect">
            <a:avLst/>
          </a:prstGeom>
        </p:spPr>
      </p:pic>
      <p:pic>
        <p:nvPicPr>
          <p:cNvPr id="8" name="Picture 7" descr="cites_logo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021" y="4565639"/>
            <a:ext cx="3670037" cy="212556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597819" y="5064612"/>
            <a:ext cx="45265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Latin American countries have a very important global influence! </a:t>
            </a:r>
            <a:endParaRPr lang="en-US" sz="20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2319365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41099" y="180558"/>
            <a:ext cx="8545701" cy="1143000"/>
          </a:xfrm>
        </p:spPr>
        <p:txBody>
          <a:bodyPr/>
          <a:lstStyle/>
          <a:p>
            <a:pPr eaLnBrk="1" hangingPunct="1"/>
            <a:r>
              <a:rPr lang="en-US" sz="2400" dirty="0" smtClean="0">
                <a:solidFill>
                  <a:srgbClr val="FFFFFF"/>
                </a:solidFill>
                <a:latin typeface="Century Gothic"/>
                <a:ea typeface="ＭＳ Ｐゴシック" pitchFamily="34" charset="-128"/>
                <a:cs typeface="Century Gothic"/>
              </a:rPr>
              <a:t>At national and international levels: Working to improve policies and laws</a:t>
            </a:r>
            <a:endParaRPr lang="en-US" sz="2400" b="0" i="1" dirty="0" smtClean="0">
              <a:solidFill>
                <a:srgbClr val="FFFFFF"/>
              </a:solidFill>
              <a:latin typeface="Century Gothic"/>
              <a:ea typeface="ＭＳ Ｐゴシック" pitchFamily="34" charset="-128"/>
              <a:cs typeface="Century Gothic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13554" y="1207349"/>
            <a:ext cx="248397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We do a lot of this!</a:t>
            </a:r>
            <a:endParaRPr lang="en-US" sz="20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pic>
        <p:nvPicPr>
          <p:cNvPr id="5" name="Picture 2" descr="https://fbcdn-sphotos-f-a.akamaihd.net/hphotos-ak-ash4/p480x480/1309_588776911154076_761247513_n.jpg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563" y="1703198"/>
            <a:ext cx="2941471" cy="1950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Placeholder 3" descr="Julie Larsen Maher 36 Clinton Global Initiative Elephant Commitment Event NYC 09 26 13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554" y="3653416"/>
            <a:ext cx="2941471" cy="222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http://media1.s-nbcnews.com/j/MSNBC/Components/Photo/_new/110720_ivoryburn.grid-10x2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034" y="3653416"/>
            <a:ext cx="2910290" cy="2078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0" y="5881478"/>
            <a:ext cx="923414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Key players within WCS:  </a:t>
            </a:r>
            <a:r>
              <a:rPr lang="en-US" sz="2000" dirty="0" err="1" smtClean="0">
                <a:solidFill>
                  <a:srgbClr val="FFFFFF"/>
                </a:solidFill>
                <a:latin typeface="Century Gothic"/>
                <a:cs typeface="Century Gothic"/>
              </a:rPr>
              <a:t>Cristián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 Samper, John Robinson, John </a:t>
            </a:r>
            <a:r>
              <a:rPr lang="en-US" sz="2000" dirty="0" err="1" smtClean="0">
                <a:solidFill>
                  <a:srgbClr val="FFFFFF"/>
                </a:solidFill>
                <a:latin typeface="Century Gothic"/>
                <a:cs typeface="Century Gothic"/>
              </a:rPr>
              <a:t>Calvelli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, Sue Lieberman, Liz Bennett, Simon Hedges, Scott </a:t>
            </a:r>
            <a:r>
              <a:rPr lang="en-US" sz="2000" dirty="0" err="1" smtClean="0">
                <a:solidFill>
                  <a:srgbClr val="FFFFFF"/>
                </a:solidFill>
                <a:latin typeface="Century Gothic"/>
                <a:cs typeface="Century Gothic"/>
              </a:rPr>
              <a:t>Roberton</a:t>
            </a:r>
            <a:r>
              <a:rPr lang="en-US" sz="2000" dirty="0" smtClean="0">
                <a:solidFill>
                  <a:srgbClr val="FFFFFF"/>
                </a:solidFill>
                <a:latin typeface="Century Gothic"/>
                <a:cs typeface="Century Gothic"/>
              </a:rPr>
              <a:t>, Emma Stokes</a:t>
            </a:r>
            <a:endParaRPr lang="en-US" sz="20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81523" y="1715806"/>
            <a:ext cx="2922109" cy="1937610"/>
          </a:xfrm>
          <a:prstGeom prst="rect">
            <a:avLst/>
          </a:prstGeom>
        </p:spPr>
      </p:pic>
      <p:pic>
        <p:nvPicPr>
          <p:cNvPr id="14" name="Picture 13" descr="Congo CAR Jan 2012 256.JP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1324" y="3653415"/>
            <a:ext cx="2771273" cy="207845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51034" y="1715806"/>
            <a:ext cx="2910290" cy="1937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085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tiger bones bengkulu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6" y="2421233"/>
            <a:ext cx="4568958" cy="342671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27107" y="141117"/>
            <a:ext cx="823077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Two linked challenges face Latin America: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Other parts of the world have greatly depleted populations of targeted species (e.g., big cats, bears, turtles);</a:t>
            </a:r>
          </a:p>
          <a:p>
            <a:pPr marL="342900" indent="-342900">
              <a:buFont typeface="Arial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Increasing spread of links to markets of East Asia. 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 descr="DSC00275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5043" y="2421233"/>
            <a:ext cx="4568957" cy="342671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113110" y="6083804"/>
            <a:ext cx="693125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What can be done to make systems resilient?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5396713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hirimoya 016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949" y="227107"/>
            <a:ext cx="6908647" cy="5181485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77948" y="5491111"/>
            <a:ext cx="7838835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Hunting for (local) sale. Many species. Might or might not be sustainable, but in many cases will not be. Might or might not be legal.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632225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IMG_1038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6983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Jaguar and cub Chac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806" y="360638"/>
            <a:ext cx="9174018" cy="611516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399859" y="2634225"/>
            <a:ext cx="1351652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Thank</a:t>
            </a:r>
          </a:p>
          <a:p>
            <a:pPr algn="ctr"/>
            <a:r>
              <a:rPr lang="en-US" sz="32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you!</a:t>
            </a:r>
            <a:endParaRPr lang="en-US" sz="3200" b="1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054685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98244" y="1043385"/>
            <a:ext cx="2651568" cy="404806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66520" y="203838"/>
            <a:ext cx="871678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How do we know what is sustainable? WCS led the thinking.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27217" y="5405169"/>
            <a:ext cx="8716783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Robinson and Redford (1991) model for maximum productivity for species. They used that to calculate maximum sustainable potential harvest rates. 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90551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Huntingcover2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9777" y="156798"/>
            <a:ext cx="3123890" cy="4457550"/>
          </a:xfrm>
          <a:prstGeom prst="rect">
            <a:avLst/>
          </a:prstGeom>
        </p:spPr>
      </p:pic>
      <p:pic>
        <p:nvPicPr>
          <p:cNvPr id="5" name="Picture 3" descr="Bushmeat 22 graph b&amp;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6003" y="1131700"/>
            <a:ext cx="5760404" cy="37663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 Box 2"/>
          <p:cNvSpPr txBox="1">
            <a:spLocks noChangeArrowheads="1"/>
          </p:cNvSpPr>
          <p:nvPr/>
        </p:nvSpPr>
        <p:spPr bwMode="auto">
          <a:xfrm>
            <a:off x="288925" y="5911325"/>
            <a:ext cx="885507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2. As </a:t>
            </a:r>
            <a:r>
              <a:rPr lang="en-US" sz="2400" dirty="0">
                <a:solidFill>
                  <a:srgbClr val="FFFFFF"/>
                </a:solidFill>
                <a:latin typeface="Century Gothic"/>
                <a:cs typeface="Century Gothic"/>
              </a:rPr>
              <a:t>hunting is more for sale, we get typical </a:t>
            </a:r>
            <a:r>
              <a:rPr lang="ja-JP" altLang="en-US" sz="2400" dirty="0">
                <a:solidFill>
                  <a:srgbClr val="FFFFFF"/>
                </a:solidFill>
                <a:latin typeface="Century Gothic"/>
                <a:cs typeface="Century Gothic"/>
              </a:rPr>
              <a:t>“</a:t>
            </a:r>
            <a:r>
              <a:rPr lang="en-US" sz="2400" dirty="0">
                <a:solidFill>
                  <a:srgbClr val="FFFFFF"/>
                </a:solidFill>
                <a:latin typeface="Century Gothic"/>
                <a:cs typeface="Century Gothic"/>
              </a:rPr>
              <a:t>boom and bust</a:t>
            </a:r>
            <a:r>
              <a:rPr lang="ja-JP" altLang="en-US" sz="2400" dirty="0">
                <a:solidFill>
                  <a:srgbClr val="FFFFFF"/>
                </a:solidFill>
                <a:latin typeface="Century Gothic"/>
                <a:cs typeface="Century Gothic"/>
              </a:rPr>
              <a:t>”</a:t>
            </a:r>
            <a:r>
              <a:rPr lang="en-US" sz="2400" dirty="0">
                <a:solidFill>
                  <a:srgbClr val="FFFFFF"/>
                </a:solidFill>
                <a:latin typeface="Century Gothic"/>
                <a:cs typeface="Century Gothic"/>
              </a:rPr>
              <a:t> wildlife trade</a:t>
            </a:r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. 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7" name="Text Box 4"/>
          <p:cNvSpPr txBox="1">
            <a:spLocks noChangeArrowheads="1"/>
          </p:cNvSpPr>
          <p:nvPr/>
        </p:nvSpPr>
        <p:spPr bwMode="auto">
          <a:xfrm>
            <a:off x="3116003" y="4860768"/>
            <a:ext cx="3450922" cy="369332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Century Gothic"/>
                <a:cs typeface="Century Gothic"/>
              </a:rPr>
              <a:t>Degree of commercialization</a:t>
            </a:r>
          </a:p>
        </p:txBody>
      </p:sp>
      <p:sp>
        <p:nvSpPr>
          <p:cNvPr id="8" name="Line 5"/>
          <p:cNvSpPr>
            <a:spLocks noChangeShapeType="1"/>
          </p:cNvSpPr>
          <p:nvPr/>
        </p:nvSpPr>
        <p:spPr bwMode="auto">
          <a:xfrm>
            <a:off x="6566925" y="5074603"/>
            <a:ext cx="990600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284545" y="5169965"/>
            <a:ext cx="8855075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1. A tropical forest can only support one person/km</a:t>
            </a:r>
            <a:r>
              <a:rPr lang="en-US" sz="2400" baseline="30000" dirty="0" smtClean="0">
                <a:solidFill>
                  <a:srgbClr val="FFFFFF"/>
                </a:solidFill>
                <a:latin typeface="Century Gothic"/>
                <a:cs typeface="Century Gothic"/>
              </a:rPr>
              <a:t>2</a:t>
            </a:r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 if they depend on wild mammals for their protein.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849252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S. American hunter and monkey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604" y="828050"/>
            <a:ext cx="3485101" cy="532857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107549" y="1756149"/>
            <a:ext cx="445245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All of this is about wildlife as  food, the core concern is sustainability, and we understand a great deal about it.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70486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Jaguar-Skins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853" y="238046"/>
            <a:ext cx="6945207" cy="523871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99561" y="5525529"/>
            <a:ext cx="8015208" cy="1200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latin typeface="Century Gothic"/>
                <a:cs typeface="Century Gothic"/>
              </a:rPr>
              <a:t>Hunting for long-distance sale. A few, targeted species as pets, or for their parts: pelts, skins, bones. If not ranched, generally unsustainable and illegal.</a:t>
            </a:r>
            <a:endParaRPr lang="en-US" sz="2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4" name="TextBox 3"/>
          <p:cNvSpPr txBox="1"/>
          <p:nvPr/>
        </p:nvSpPr>
        <p:spPr>
          <a:xfrm rot="20165005">
            <a:off x="2633188" y="2635971"/>
            <a:ext cx="4024960" cy="830997"/>
          </a:xfrm>
          <a:prstGeom prst="rect">
            <a:avLst/>
          </a:prstGeom>
          <a:noFill/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</p:spPr>
        <p:txBody>
          <a:bodyPr wrap="none" rtlCol="0">
            <a:spAutoFit/>
          </a:bodyPr>
          <a:lstStyle/>
          <a:p>
            <a:r>
              <a:rPr lang="en-US" sz="4800" b="1" dirty="0" smtClean="0">
                <a:solidFill>
                  <a:srgbClr val="FF0000"/>
                </a:solidFill>
                <a:latin typeface="Century Gothic"/>
                <a:cs typeface="Century Gothic"/>
              </a:rPr>
              <a:t>TRAFFICKING</a:t>
            </a:r>
            <a:endParaRPr lang="en-US" sz="4800" b="1" dirty="0">
              <a:solidFill>
                <a:srgbClr val="FF0000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386127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frican grey parrots reduce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2381397"/>
            <a:ext cx="3574508" cy="2424193"/>
          </a:xfrm>
          <a:prstGeom prst="rect">
            <a:avLst/>
          </a:prstGeom>
        </p:spPr>
      </p:pic>
      <p:pic>
        <p:nvPicPr>
          <p:cNvPr id="7" name="Picture 6" descr="pangolins frozen 1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4547" y="-1"/>
            <a:ext cx="3177228" cy="2382921"/>
          </a:xfrm>
          <a:prstGeom prst="rect">
            <a:avLst/>
          </a:prstGeom>
        </p:spPr>
      </p:pic>
      <p:pic>
        <p:nvPicPr>
          <p:cNvPr id="9" name="Picture 8" descr="Ivory confiscation 2 Cairo TRAFFIC-T Milliken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0953"/>
            <a:ext cx="3574509" cy="2376669"/>
          </a:xfrm>
          <a:prstGeom prst="rect">
            <a:avLst/>
          </a:prstGeom>
        </p:spPr>
      </p:pic>
      <p:pic>
        <p:nvPicPr>
          <p:cNvPr id="10" name="Picture 9" descr="Rhino-Horn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4553" y="829085"/>
            <a:ext cx="2059086" cy="3073262"/>
          </a:xfrm>
          <a:prstGeom prst="rect">
            <a:avLst/>
          </a:prstGeom>
        </p:spPr>
      </p:pic>
      <p:pic>
        <p:nvPicPr>
          <p:cNvPr id="11" name="Picture 10" descr="DSC00830.JP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4547" y="2365716"/>
            <a:ext cx="3139453" cy="235459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25412" y="4790564"/>
            <a:ext cx="9018587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Century Gothic"/>
                <a:cs typeface="Century Gothic"/>
              </a:rPr>
              <a:t>C</a:t>
            </a:r>
            <a:r>
              <a:rPr lang="en-US" sz="2000" dirty="0" smtClean="0">
                <a:solidFill>
                  <a:schemeClr val="bg1"/>
                </a:solidFill>
                <a:latin typeface="Century Gothic"/>
                <a:cs typeface="Century Gothic"/>
              </a:rPr>
              <a:t>haracteristics of wildlife trafficking: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entury Gothic"/>
                <a:cs typeface="Century Gothic"/>
              </a:rPr>
              <a:t>Illegal;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entury Gothic"/>
                <a:cs typeface="Century Gothic"/>
              </a:rPr>
              <a:t>Long distance (usually international);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entury Gothic"/>
                <a:cs typeface="Century Gothic"/>
              </a:rPr>
              <a:t>Organized (with “kingpins”) and capitalized;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entury Gothic"/>
                <a:cs typeface="Century Gothic"/>
              </a:rPr>
              <a:t>Species (or taxon) specific;</a:t>
            </a:r>
          </a:p>
          <a:p>
            <a:pPr marL="342900" indent="-342900">
              <a:buFont typeface="Arial"/>
              <a:buChar char="•"/>
            </a:pPr>
            <a:r>
              <a:rPr lang="en-US" sz="2000" dirty="0" smtClean="0">
                <a:solidFill>
                  <a:schemeClr val="bg1"/>
                </a:solidFill>
                <a:latin typeface="Century Gothic"/>
                <a:cs typeface="Century Gothic"/>
              </a:rPr>
              <a:t>Generally unsustainable.</a:t>
            </a:r>
          </a:p>
        </p:txBody>
      </p:sp>
    </p:spTree>
    <p:extLst>
      <p:ext uri="{BB962C8B-B14F-4D97-AF65-F5344CB8AC3E}">
        <p14:creationId xmlns:p14="http://schemas.microsoft.com/office/powerpoint/2010/main" val="204722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TextBox 2"/>
          <p:cNvSpPr txBox="1">
            <a:spLocks noChangeArrowheads="1"/>
          </p:cNvSpPr>
          <p:nvPr/>
        </p:nvSpPr>
        <p:spPr bwMode="auto">
          <a:xfrm>
            <a:off x="701416" y="5491600"/>
            <a:ext cx="815562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Century Gothic" charset="0"/>
              </a:rPr>
              <a:t>Trafficking often facilitated by corruption at multiple points in the trade chain.</a:t>
            </a:r>
            <a:endParaRPr lang="en-US" dirty="0">
              <a:solidFill>
                <a:schemeClr val="bg1"/>
              </a:solidFill>
              <a:latin typeface="Century Gothic" charset="0"/>
            </a:endParaRPr>
          </a:p>
        </p:txBody>
      </p:sp>
      <p:pic>
        <p:nvPicPr>
          <p:cNvPr id="58370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2225"/>
            <a:ext cx="304165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1" name="Pictur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5200" y="22225"/>
            <a:ext cx="5419725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372" name="Pictur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743200"/>
            <a:ext cx="1890713" cy="251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733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aRQaG1a0e6cEj6eimu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aRQaG1a0e6cEj6eimu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aRQaG1a0e6cEj6eimu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aRQaG1a0e6cEj6eimul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Blank Presentation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  <a:fontScheme name="Blank Presentation">
    <a:majorFont>
      <a:latin typeface="Arial"/>
      <a:ea typeface="ＭＳ Ｐゴシック"/>
      <a:cs typeface=""/>
    </a:majorFont>
    <a:minorFont>
      <a:latin typeface="Arial"/>
      <a:ea typeface="ＭＳ Ｐゴシック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936</TotalTime>
  <Words>913</Words>
  <Application>Microsoft Office PowerPoint</Application>
  <PresentationFormat>On-screen Show (4:3)</PresentationFormat>
  <Paragraphs>129</Paragraphs>
  <Slides>31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1</vt:i4>
      </vt:variant>
    </vt:vector>
  </HeadingPairs>
  <TitlesOfParts>
    <vt:vector size="34" baseType="lpstr">
      <vt:lpstr>Office Theme</vt:lpstr>
      <vt:lpstr>Worksheet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do we do?  Address the problem along the wildlife trade chain, from point of hunting to point of sale</vt:lpstr>
      <vt:lpstr>Wildlife trade chain from hunting to sale –  Level 1: The Site</vt:lpstr>
      <vt:lpstr>Wildlife trade chain from hunting to sale –  Level 1: The Site</vt:lpstr>
      <vt:lpstr>Wildlife trade chain from hunting to sale –  Level 1: The Site</vt:lpstr>
      <vt:lpstr>Wildlife trade chain from hunting to sale –  Level 1: The Site</vt:lpstr>
      <vt:lpstr>PowerPoint Presentation</vt:lpstr>
      <vt:lpstr>PowerPoint Presentation</vt:lpstr>
      <vt:lpstr>Wildlife trade chain from hunting to sale –  Level 2: The Landscape</vt:lpstr>
      <vt:lpstr>Wildlife trade chain from hunting to sale –  Level 2: The Landscape</vt:lpstr>
      <vt:lpstr>PowerPoint Presentation</vt:lpstr>
      <vt:lpstr>PowerPoint Presentation</vt:lpstr>
      <vt:lpstr>PowerPoint Presentation</vt:lpstr>
      <vt:lpstr>PowerPoint Presentation</vt:lpstr>
      <vt:lpstr>At all levels: Working to strengthen enforcement capacity</vt:lpstr>
      <vt:lpstr>At all levels: Working to improve efficiency of the legal process</vt:lpstr>
      <vt:lpstr>At national and international levels: Working to improve policies and laws</vt:lpstr>
      <vt:lpstr>At national and international levels: Working to improve policies and laws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izabeth Bennett</dc:creator>
  <cp:lastModifiedBy>Mike</cp:lastModifiedBy>
  <cp:revision>56</cp:revision>
  <dcterms:created xsi:type="dcterms:W3CDTF">2015-04-19T20:09:03Z</dcterms:created>
  <dcterms:modified xsi:type="dcterms:W3CDTF">2016-03-08T10:03:31Z</dcterms:modified>
</cp:coreProperties>
</file>